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</p:sldIdLst>
  <p:sldSz cx="12192000" cy="6858000"/>
  <p:notesSz cx="6858000" cy="9144000"/>
  <p:custDataLst>
    <p:tags r:id="rId7"/>
  </p:custDataLst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DEFA899-8F54-452D-B7E9-01CE599AE381}" v="174" dt="2023-03-08T13:34:17.47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>
        <p:scale>
          <a:sx n="75" d="100"/>
          <a:sy n="75" d="100"/>
        </p:scale>
        <p:origin x="1896" y="9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imer Ádám" userId="8a923def-9a81-4ceb-8db9-424f2c16c007" providerId="ADAL" clId="{6DEFA899-8F54-452D-B7E9-01CE599AE381}"/>
    <pc:docChg chg="custSel addSld modSld replTag">
      <pc:chgData name="Cimer Ádám" userId="8a923def-9a81-4ceb-8db9-424f2c16c007" providerId="ADAL" clId="{6DEFA899-8F54-452D-B7E9-01CE599AE381}" dt="2023-03-08T13:34:17.471" v="264" actId="1038"/>
      <pc:docMkLst>
        <pc:docMk/>
      </pc:docMkLst>
      <pc:sldChg chg="addSp delSp modSp new add mod">
        <pc:chgData name="Cimer Ádám" userId="8a923def-9a81-4ceb-8db9-424f2c16c007" providerId="ADAL" clId="{6DEFA899-8F54-452D-B7E9-01CE599AE381}" dt="2023-03-08T11:19:51.460" v="83" actId="14100"/>
        <pc:sldMkLst>
          <pc:docMk/>
          <pc:sldMk cId="1710719383" sldId="258"/>
        </pc:sldMkLst>
        <pc:spChg chg="del">
          <ac:chgData name="Cimer Ádám" userId="8a923def-9a81-4ceb-8db9-424f2c16c007" providerId="ADAL" clId="{6DEFA899-8F54-452D-B7E9-01CE599AE381}" dt="2023-03-08T11:14:09.107" v="2" actId="478"/>
          <ac:spMkLst>
            <pc:docMk/>
            <pc:sldMk cId="1710719383" sldId="258"/>
            <ac:spMk id="2" creationId="{55CA8CB2-39AE-16ED-3D80-7426BC589331}"/>
          </ac:spMkLst>
        </pc:spChg>
        <pc:spChg chg="del">
          <ac:chgData name="Cimer Ádám" userId="8a923def-9a81-4ceb-8db9-424f2c16c007" providerId="ADAL" clId="{6DEFA899-8F54-452D-B7E9-01CE599AE381}" dt="2023-03-08T11:14:09.107" v="2" actId="478"/>
          <ac:spMkLst>
            <pc:docMk/>
            <pc:sldMk cId="1710719383" sldId="258"/>
            <ac:spMk id="3" creationId="{6CFFEAC5-224E-A2EC-8543-8E8113F77ADF}"/>
          </ac:spMkLst>
        </pc:spChg>
        <pc:grpChg chg="add del mod">
          <ac:chgData name="Cimer Ádám" userId="8a923def-9a81-4ceb-8db9-424f2c16c007" providerId="ADAL" clId="{6DEFA899-8F54-452D-B7E9-01CE599AE381}" dt="2023-03-08T11:17:53.344" v="53" actId="165"/>
          <ac:grpSpMkLst>
            <pc:docMk/>
            <pc:sldMk cId="1710719383" sldId="258"/>
            <ac:grpSpMk id="2" creationId="{D87FC2FD-F359-DDE6-69E9-12C4276EB089}"/>
          </ac:grpSpMkLst>
        </pc:grpChg>
        <pc:grpChg chg="add mod">
          <ac:chgData name="Cimer Ádám" userId="8a923def-9a81-4ceb-8db9-424f2c16c007" providerId="ADAL" clId="{6DEFA899-8F54-452D-B7E9-01CE599AE381}" dt="2023-03-08T11:15:38.537" v="45" actId="732"/>
          <ac:grpSpMkLst>
            <pc:docMk/>
            <pc:sldMk cId="1710719383" sldId="258"/>
            <ac:grpSpMk id="7" creationId="{92D946F1-43C3-2E6A-AE39-697A7BCBC341}"/>
          </ac:grpSpMkLst>
        </pc:grpChg>
        <pc:graphicFrameChg chg="add mod ord modVis replST">
          <ac:chgData name="Cimer Ádám" userId="8a923def-9a81-4ceb-8db9-424f2c16c007" providerId="ADAL" clId="{6DEFA899-8F54-452D-B7E9-01CE599AE381}" dt="2023-03-08T11:14:45.630" v="34"/>
          <ac:graphicFrameMkLst>
            <pc:docMk/>
            <pc:sldMk cId="1710719383" sldId="258"/>
            <ac:graphicFrameMk id="4" creationId="{1A0BFCCB-BC26-0ECB-495A-DC659275D020}"/>
          </ac:graphicFrameMkLst>
        </pc:graphicFrameChg>
        <pc:picChg chg="add mod">
          <ac:chgData name="Cimer Ádám" userId="8a923def-9a81-4ceb-8db9-424f2c16c007" providerId="ADAL" clId="{6DEFA899-8F54-452D-B7E9-01CE599AE381}" dt="2023-03-08T11:19:38.191" v="80" actId="14100"/>
          <ac:picMkLst>
            <pc:docMk/>
            <pc:sldMk cId="1710719383" sldId="258"/>
            <ac:picMk id="2" creationId="{A8F42F23-4E4E-8E2A-75A4-12C79B32435D}"/>
          </ac:picMkLst>
        </pc:picChg>
        <pc:picChg chg="mod topLvl">
          <ac:chgData name="Cimer Ádám" userId="8a923def-9a81-4ceb-8db9-424f2c16c007" providerId="ADAL" clId="{6DEFA899-8F54-452D-B7E9-01CE599AE381}" dt="2023-03-08T11:18:38.600" v="74" actId="14100"/>
          <ac:picMkLst>
            <pc:docMk/>
            <pc:sldMk cId="1710719383" sldId="258"/>
            <ac:picMk id="3" creationId="{638A92ED-03E5-6E8F-BAA3-35D0EE6F6B92}"/>
          </ac:picMkLst>
        </pc:picChg>
        <pc:picChg chg="del mod topLvl">
          <ac:chgData name="Cimer Ádám" userId="8a923def-9a81-4ceb-8db9-424f2c16c007" providerId="ADAL" clId="{6DEFA899-8F54-452D-B7E9-01CE599AE381}" dt="2023-03-08T11:17:56.134" v="54" actId="478"/>
          <ac:picMkLst>
            <pc:docMk/>
            <pc:sldMk cId="1710719383" sldId="258"/>
            <ac:picMk id="5" creationId="{2ABF51FA-09ED-C6BD-01FF-A868221701E3}"/>
          </ac:picMkLst>
        </pc:picChg>
        <pc:picChg chg="add del mod">
          <ac:chgData name="Cimer Ádám" userId="8a923def-9a81-4ceb-8db9-424f2c16c007" providerId="ADAL" clId="{6DEFA899-8F54-452D-B7E9-01CE599AE381}" dt="2023-03-08T11:19:32.144" v="79" actId="21"/>
          <ac:picMkLst>
            <pc:docMk/>
            <pc:sldMk cId="1710719383" sldId="258"/>
            <ac:picMk id="5" creationId="{B8DCF291-317D-DB63-C6B5-5C9D9B96033C}"/>
          </ac:picMkLst>
        </pc:picChg>
        <pc:picChg chg="add mod ord">
          <ac:chgData name="Cimer Ádám" userId="8a923def-9a81-4ceb-8db9-424f2c16c007" providerId="ADAL" clId="{6DEFA899-8F54-452D-B7E9-01CE599AE381}" dt="2023-03-08T11:15:38.537" v="45" actId="732"/>
          <ac:picMkLst>
            <pc:docMk/>
            <pc:sldMk cId="1710719383" sldId="258"/>
            <ac:picMk id="6" creationId="{1A7DDC5B-4E06-BAD6-BF0D-81915180D8C0}"/>
          </ac:picMkLst>
        </pc:picChg>
        <pc:picChg chg="add del mod">
          <ac:chgData name="Cimer Ádám" userId="8a923def-9a81-4ceb-8db9-424f2c16c007" providerId="ADAL" clId="{6DEFA899-8F54-452D-B7E9-01CE599AE381}" dt="2023-03-08T11:18:30.635" v="72" actId="21"/>
          <ac:picMkLst>
            <pc:docMk/>
            <pc:sldMk cId="1710719383" sldId="258"/>
            <ac:picMk id="8" creationId="{AC9DE393-09F8-D2E4-4432-6F3DAFF829CE}"/>
          </ac:picMkLst>
        </pc:picChg>
        <pc:picChg chg="add mod">
          <ac:chgData name="Cimer Ádám" userId="8a923def-9a81-4ceb-8db9-424f2c16c007" providerId="ADAL" clId="{6DEFA899-8F54-452D-B7E9-01CE599AE381}" dt="2023-03-08T11:19:51.460" v="83" actId="14100"/>
          <ac:picMkLst>
            <pc:docMk/>
            <pc:sldMk cId="1710719383" sldId="258"/>
            <ac:picMk id="8" creationId="{CD1E6DBC-F8C7-43BB-198C-8389EAEEB16E}"/>
          </ac:picMkLst>
        </pc:picChg>
        <pc:picChg chg="add mod">
          <ac:chgData name="Cimer Ádám" userId="8a923def-9a81-4ceb-8db9-424f2c16c007" providerId="ADAL" clId="{6DEFA899-8F54-452D-B7E9-01CE599AE381}" dt="2023-03-08T11:18:42.009" v="76" actId="1076"/>
          <ac:picMkLst>
            <pc:docMk/>
            <pc:sldMk cId="1710719383" sldId="258"/>
            <ac:picMk id="9" creationId="{8F38AB27-6F56-B38B-384B-4C3A73DE2722}"/>
          </ac:picMkLst>
        </pc:picChg>
        <pc:picChg chg="add mod">
          <ac:chgData name="Cimer Ádám" userId="8a923def-9a81-4ceb-8db9-424f2c16c007" providerId="ADAL" clId="{6DEFA899-8F54-452D-B7E9-01CE599AE381}" dt="2023-03-08T11:15:38.537" v="45" actId="732"/>
          <ac:picMkLst>
            <pc:docMk/>
            <pc:sldMk cId="1710719383" sldId="258"/>
            <ac:picMk id="1026" creationId="{5DC429A4-BBA0-51D6-03ED-D4FC77667583}"/>
          </ac:picMkLst>
        </pc:picChg>
      </pc:sldChg>
      <pc:sldChg chg="addSp delSp modSp new add mod setBg">
        <pc:chgData name="Cimer Ádám" userId="8a923def-9a81-4ceb-8db9-424f2c16c007" providerId="ADAL" clId="{6DEFA899-8F54-452D-B7E9-01CE599AE381}" dt="2023-03-08T11:26:50.922" v="132" actId="1076"/>
        <pc:sldMkLst>
          <pc:docMk/>
          <pc:sldMk cId="4040191382" sldId="259"/>
        </pc:sldMkLst>
        <pc:spChg chg="del">
          <ac:chgData name="Cimer Ádám" userId="8a923def-9a81-4ceb-8db9-424f2c16c007" providerId="ADAL" clId="{6DEFA899-8F54-452D-B7E9-01CE599AE381}" dt="2023-03-08T11:23:24.030" v="86" actId="478"/>
          <ac:spMkLst>
            <pc:docMk/>
            <pc:sldMk cId="4040191382" sldId="259"/>
            <ac:spMk id="2" creationId="{87537C9F-1025-65B0-B668-6019A5592030}"/>
          </ac:spMkLst>
        </pc:spChg>
        <pc:spChg chg="del">
          <ac:chgData name="Cimer Ádám" userId="8a923def-9a81-4ceb-8db9-424f2c16c007" providerId="ADAL" clId="{6DEFA899-8F54-452D-B7E9-01CE599AE381}" dt="2023-03-08T11:23:24.030" v="86" actId="478"/>
          <ac:spMkLst>
            <pc:docMk/>
            <pc:sldMk cId="4040191382" sldId="259"/>
            <ac:spMk id="3" creationId="{98D8BE7B-4E63-392D-BB71-AA099E2641FC}"/>
          </ac:spMkLst>
        </pc:spChg>
        <pc:spChg chg="add mod ord">
          <ac:chgData name="Cimer Ádám" userId="8a923def-9a81-4ceb-8db9-424f2c16c007" providerId="ADAL" clId="{6DEFA899-8F54-452D-B7E9-01CE599AE381}" dt="2023-03-08T11:24:05.772" v="107"/>
          <ac:spMkLst>
            <pc:docMk/>
            <pc:sldMk cId="4040191382" sldId="259"/>
            <ac:spMk id="5" creationId="{D845AE3D-D68A-9167-A7B8-A6150DA1896C}"/>
          </ac:spMkLst>
        </pc:spChg>
        <pc:graphicFrameChg chg="add mod modVis replST">
          <ac:chgData name="Cimer Ádám" userId="8a923def-9a81-4ceb-8db9-424f2c16c007" providerId="ADAL" clId="{6DEFA899-8F54-452D-B7E9-01CE599AE381}" dt="2023-03-08T11:24:05.772" v="112"/>
          <ac:graphicFrameMkLst>
            <pc:docMk/>
            <pc:sldMk cId="4040191382" sldId="259"/>
            <ac:graphicFrameMk id="4" creationId="{5F7599BC-F0AC-6989-3558-2C26CF51BD38}"/>
          </ac:graphicFrameMkLst>
        </pc:graphicFrameChg>
        <pc:picChg chg="add mod">
          <ac:chgData name="Cimer Ádám" userId="8a923def-9a81-4ceb-8db9-424f2c16c007" providerId="ADAL" clId="{6DEFA899-8F54-452D-B7E9-01CE599AE381}" dt="2023-03-08T11:26:09.586" v="118" actId="1076"/>
          <ac:picMkLst>
            <pc:docMk/>
            <pc:sldMk cId="4040191382" sldId="259"/>
            <ac:picMk id="1026" creationId="{EA0432B9-BAE2-4A05-5944-5207B566D50E}"/>
          </ac:picMkLst>
        </pc:picChg>
        <pc:picChg chg="add mod">
          <ac:chgData name="Cimer Ádám" userId="8a923def-9a81-4ceb-8db9-424f2c16c007" providerId="ADAL" clId="{6DEFA899-8F54-452D-B7E9-01CE599AE381}" dt="2023-03-08T11:26:50.922" v="132" actId="1076"/>
          <ac:picMkLst>
            <pc:docMk/>
            <pc:sldMk cId="4040191382" sldId="259"/>
            <ac:picMk id="1028" creationId="{0A9AEE85-73B2-A0BC-95E3-E62B28B9D747}"/>
          </ac:picMkLst>
        </pc:picChg>
      </pc:sldChg>
      <pc:sldChg chg="addSp delSp modSp add mod">
        <pc:chgData name="Cimer Ádám" userId="8a923def-9a81-4ceb-8db9-424f2c16c007" providerId="ADAL" clId="{6DEFA899-8F54-452D-B7E9-01CE599AE381}" dt="2023-03-08T13:34:17.471" v="264" actId="1038"/>
        <pc:sldMkLst>
          <pc:docMk/>
          <pc:sldMk cId="3246495200" sldId="260"/>
        </pc:sldMkLst>
        <pc:spChg chg="del">
          <ac:chgData name="Cimer Ádám" userId="8a923def-9a81-4ceb-8db9-424f2c16c007" providerId="ADAL" clId="{6DEFA899-8F54-452D-B7E9-01CE599AE381}" dt="2023-03-08T12:51:53.454" v="135" actId="478"/>
          <ac:spMkLst>
            <pc:docMk/>
            <pc:sldMk cId="3246495200" sldId="260"/>
            <ac:spMk id="5" creationId="{D845AE3D-D68A-9167-A7B8-A6150DA1896C}"/>
          </ac:spMkLst>
        </pc:spChg>
        <pc:spChg chg="add mod ord">
          <ac:chgData name="Cimer Ádám" userId="8a923def-9a81-4ceb-8db9-424f2c16c007" providerId="ADAL" clId="{6DEFA899-8F54-452D-B7E9-01CE599AE381}" dt="2023-03-08T13:17:34.372" v="229" actId="207"/>
          <ac:spMkLst>
            <pc:docMk/>
            <pc:sldMk cId="3246495200" sldId="260"/>
            <ac:spMk id="7" creationId="{9E784680-01AB-2A6E-EDA8-FE3E87E8C59F}"/>
          </ac:spMkLst>
        </pc:spChg>
        <pc:spChg chg="add mod">
          <ac:chgData name="Cimer Ádám" userId="8a923def-9a81-4ceb-8db9-424f2c16c007" providerId="ADAL" clId="{6DEFA899-8F54-452D-B7E9-01CE599AE381}" dt="2023-03-08T13:33:17.210" v="240" actId="1076"/>
          <ac:spMkLst>
            <pc:docMk/>
            <pc:sldMk cId="3246495200" sldId="260"/>
            <ac:spMk id="8" creationId="{102D4EBC-DB94-0A89-D5BB-4E3AFB667ED5}"/>
          </ac:spMkLst>
        </pc:spChg>
        <pc:spChg chg="add mod">
          <ac:chgData name="Cimer Ádám" userId="8a923def-9a81-4ceb-8db9-424f2c16c007" providerId="ADAL" clId="{6DEFA899-8F54-452D-B7E9-01CE599AE381}" dt="2023-03-08T13:33:27.851" v="243" actId="1076"/>
          <ac:spMkLst>
            <pc:docMk/>
            <pc:sldMk cId="3246495200" sldId="260"/>
            <ac:spMk id="9" creationId="{B97C72FE-1119-A7C4-3952-5996302F2711}"/>
          </ac:spMkLst>
        </pc:spChg>
        <pc:spChg chg="add mod">
          <ac:chgData name="Cimer Ádám" userId="8a923def-9a81-4ceb-8db9-424f2c16c007" providerId="ADAL" clId="{6DEFA899-8F54-452D-B7E9-01CE599AE381}" dt="2023-03-08T13:34:12.579" v="258" actId="1076"/>
          <ac:spMkLst>
            <pc:docMk/>
            <pc:sldMk cId="3246495200" sldId="260"/>
            <ac:spMk id="10" creationId="{32BDCDDD-B023-184D-A1E4-19132F3B28FF}"/>
          </ac:spMkLst>
        </pc:spChg>
        <pc:spChg chg="add mod">
          <ac:chgData name="Cimer Ádám" userId="8a923def-9a81-4ceb-8db9-424f2c16c007" providerId="ADAL" clId="{6DEFA899-8F54-452D-B7E9-01CE599AE381}" dt="2023-03-08T13:33:50.341" v="251" actId="1076"/>
          <ac:spMkLst>
            <pc:docMk/>
            <pc:sldMk cId="3246495200" sldId="260"/>
            <ac:spMk id="11" creationId="{72A3ACEE-37EC-6445-1846-E1BE4526AD0B}"/>
          </ac:spMkLst>
        </pc:spChg>
        <pc:spChg chg="add mod">
          <ac:chgData name="Cimer Ádám" userId="8a923def-9a81-4ceb-8db9-424f2c16c007" providerId="ADAL" clId="{6DEFA899-8F54-452D-B7E9-01CE599AE381}" dt="2023-03-08T13:34:09.007" v="257" actId="1076"/>
          <ac:spMkLst>
            <pc:docMk/>
            <pc:sldMk cId="3246495200" sldId="260"/>
            <ac:spMk id="12" creationId="{594AC874-71CC-B379-D86A-95BB55994F8C}"/>
          </ac:spMkLst>
        </pc:spChg>
        <pc:graphicFrameChg chg="mod">
          <ac:chgData name="Cimer Ádám" userId="8a923def-9a81-4ceb-8db9-424f2c16c007" providerId="ADAL" clId="{6DEFA899-8F54-452D-B7E9-01CE599AE381}" dt="2023-03-08T13:17:06.539" v="211"/>
          <ac:graphicFrameMkLst>
            <pc:docMk/>
            <pc:sldMk cId="3246495200" sldId="260"/>
            <ac:graphicFrameMk id="4" creationId="{5F7599BC-F0AC-6989-3558-2C26CF51BD38}"/>
          </ac:graphicFrameMkLst>
        </pc:graphicFrameChg>
        <pc:picChg chg="add del mod">
          <ac:chgData name="Cimer Ádám" userId="8a923def-9a81-4ceb-8db9-424f2c16c007" providerId="ADAL" clId="{6DEFA899-8F54-452D-B7E9-01CE599AE381}" dt="2023-03-08T13:10:51.257" v="180" actId="478"/>
          <ac:picMkLst>
            <pc:docMk/>
            <pc:sldMk cId="3246495200" sldId="260"/>
            <ac:picMk id="2" creationId="{E2EEF790-FBB0-2516-4F36-BFC2F99CEC0B}"/>
          </ac:picMkLst>
        </pc:picChg>
        <pc:picChg chg="add del mod">
          <ac:chgData name="Cimer Ádám" userId="8a923def-9a81-4ceb-8db9-424f2c16c007" providerId="ADAL" clId="{6DEFA899-8F54-452D-B7E9-01CE599AE381}" dt="2023-03-08T13:00:07.873" v="148" actId="478"/>
          <ac:picMkLst>
            <pc:docMk/>
            <pc:sldMk cId="3246495200" sldId="260"/>
            <ac:picMk id="3" creationId="{6530E3B9-F655-EA9E-A731-496C970C7516}"/>
          </ac:picMkLst>
        </pc:picChg>
        <pc:picChg chg="add mod">
          <ac:chgData name="Cimer Ádám" userId="8a923def-9a81-4ceb-8db9-424f2c16c007" providerId="ADAL" clId="{6DEFA899-8F54-452D-B7E9-01CE599AE381}" dt="2023-03-08T13:17:06.537" v="207"/>
          <ac:picMkLst>
            <pc:docMk/>
            <pc:sldMk cId="3246495200" sldId="260"/>
            <ac:picMk id="6" creationId="{5EA805CA-C94F-B3FB-72EA-D6086D525DF9}"/>
          </ac:picMkLst>
        </pc:picChg>
        <pc:picChg chg="del">
          <ac:chgData name="Cimer Ádám" userId="8a923def-9a81-4ceb-8db9-424f2c16c007" providerId="ADAL" clId="{6DEFA899-8F54-452D-B7E9-01CE599AE381}" dt="2023-03-08T12:51:53.454" v="135" actId="478"/>
          <ac:picMkLst>
            <pc:docMk/>
            <pc:sldMk cId="3246495200" sldId="260"/>
            <ac:picMk id="1026" creationId="{EA0432B9-BAE2-4A05-5944-5207B566D50E}"/>
          </ac:picMkLst>
        </pc:picChg>
        <pc:picChg chg="del">
          <ac:chgData name="Cimer Ádám" userId="8a923def-9a81-4ceb-8db9-424f2c16c007" providerId="ADAL" clId="{6DEFA899-8F54-452D-B7E9-01CE599AE381}" dt="2023-03-08T12:51:53.454" v="135" actId="478"/>
          <ac:picMkLst>
            <pc:docMk/>
            <pc:sldMk cId="3246495200" sldId="260"/>
            <ac:picMk id="1028" creationId="{0A9AEE85-73B2-A0BC-95E3-E62B28B9D747}"/>
          </ac:picMkLst>
        </pc:picChg>
        <pc:picChg chg="add mod">
          <ac:chgData name="Cimer Ádám" userId="8a923def-9a81-4ceb-8db9-424f2c16c007" providerId="ADAL" clId="{6DEFA899-8F54-452D-B7E9-01CE599AE381}" dt="2023-03-08T13:17:06.536" v="203"/>
          <ac:picMkLst>
            <pc:docMk/>
            <pc:sldMk cId="3246495200" sldId="260"/>
            <ac:picMk id="1030" creationId="{3A0C7713-C727-A7F3-49C1-E5F34A462C75}"/>
          </ac:picMkLst>
        </pc:picChg>
        <pc:picChg chg="add mod">
          <ac:chgData name="Cimer Ádám" userId="8a923def-9a81-4ceb-8db9-424f2c16c007" providerId="ADAL" clId="{6DEFA899-8F54-452D-B7E9-01CE599AE381}" dt="2023-03-08T13:17:06.537" v="204"/>
          <ac:picMkLst>
            <pc:docMk/>
            <pc:sldMk cId="3246495200" sldId="260"/>
            <ac:picMk id="1032" creationId="{415CF8FF-55C7-BA72-B4E7-146021663EDF}"/>
          </ac:picMkLst>
        </pc:picChg>
        <pc:picChg chg="add del mod">
          <ac:chgData name="Cimer Ádám" userId="8a923def-9a81-4ceb-8db9-424f2c16c007" providerId="ADAL" clId="{6DEFA899-8F54-452D-B7E9-01CE599AE381}" dt="2023-03-08T13:09:08.613" v="165" actId="478"/>
          <ac:picMkLst>
            <pc:docMk/>
            <pc:sldMk cId="3246495200" sldId="260"/>
            <ac:picMk id="1034" creationId="{DBB89EED-46EA-02E9-6C0E-DAAE54A809F4}"/>
          </ac:picMkLst>
        </pc:picChg>
        <pc:picChg chg="add mod">
          <ac:chgData name="Cimer Ádám" userId="8a923def-9a81-4ceb-8db9-424f2c16c007" providerId="ADAL" clId="{6DEFA899-8F54-452D-B7E9-01CE599AE381}" dt="2023-03-08T13:34:17.471" v="264" actId="1038"/>
          <ac:picMkLst>
            <pc:docMk/>
            <pc:sldMk cId="3246495200" sldId="260"/>
            <ac:picMk id="1036" creationId="{FF57B8AA-3CA4-8154-DEA2-0C0132FDAD2E}"/>
          </ac:picMkLst>
        </pc:picChg>
        <pc:picChg chg="add mod">
          <ac:chgData name="Cimer Ádám" userId="8a923def-9a81-4ceb-8db9-424f2c16c007" providerId="ADAL" clId="{6DEFA899-8F54-452D-B7E9-01CE599AE381}" dt="2023-03-08T13:34:16.160" v="261" actId="1037"/>
          <ac:picMkLst>
            <pc:docMk/>
            <pc:sldMk cId="3246495200" sldId="260"/>
            <ac:picMk id="1038" creationId="{BD324ABF-875D-A79A-6DE2-9A543B723352}"/>
          </ac:picMkLst>
        </pc:picChg>
        <pc:picChg chg="add del mod">
          <ac:chgData name="Cimer Ádám" userId="8a923def-9a81-4ceb-8db9-424f2c16c007" providerId="ADAL" clId="{6DEFA899-8F54-452D-B7E9-01CE599AE381}" dt="2023-03-08T13:10:50.135" v="179" actId="21"/>
          <ac:picMkLst>
            <pc:docMk/>
            <pc:sldMk cId="3246495200" sldId="260"/>
            <ac:picMk id="1040" creationId="{C35CFB2B-2568-86AC-4D60-A540D9E96313}"/>
          </ac:picMkLst>
        </pc:pic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DB4AEBEF-295C-77DF-F64A-F84D72B87FC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CDEB4D0A-C579-7AFF-3AC2-2A74745368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u-HU"/>
              <a:t>Kattintson ide az alcím mintájának szerkesztéséhez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F91AC82C-D119-1994-D349-D37DAA1632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D3E696-7ADA-4091-9F3B-C7D4C4794D94}" type="datetimeFigureOut">
              <a:rPr lang="hu-HU" smtClean="0"/>
              <a:t>2023. 03. 08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F22FCED1-4B80-2ED1-FF40-5A04C63960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85C11EC7-BA4F-2B5C-9D67-4569051D36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502ECC-16EE-4BF5-803F-3AB722A56C11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4194512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904BF4D1-1180-D8F8-EB79-5ECE74D011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Függőleges szöveg helye 2">
            <a:extLst>
              <a:ext uri="{FF2B5EF4-FFF2-40B4-BE49-F238E27FC236}">
                <a16:creationId xmlns:a16="http://schemas.microsoft.com/office/drawing/2014/main" id="{73599EDD-88AD-B87C-738C-9C4CBC9143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9F3EB7CA-0E77-5D2C-27FB-5615687CA8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D3E696-7ADA-4091-9F3B-C7D4C4794D94}" type="datetimeFigureOut">
              <a:rPr lang="hu-HU" smtClean="0"/>
              <a:t>2023. 03. 08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94FDF7E7-D2D7-C8F6-5A2D-D0379EEE52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1F25C528-3032-2EC0-A29A-E90167237C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502ECC-16EE-4BF5-803F-3AB722A56C11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6330859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üggőleges cím 1">
            <a:extLst>
              <a:ext uri="{FF2B5EF4-FFF2-40B4-BE49-F238E27FC236}">
                <a16:creationId xmlns:a16="http://schemas.microsoft.com/office/drawing/2014/main" id="{488E56C5-B049-6F42-5FEB-79C8102F074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Függőleges szöveg helye 2">
            <a:extLst>
              <a:ext uri="{FF2B5EF4-FFF2-40B4-BE49-F238E27FC236}">
                <a16:creationId xmlns:a16="http://schemas.microsoft.com/office/drawing/2014/main" id="{D2EED128-F054-2DDD-C10A-1FB570968CF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BE41DD19-FBD6-7B67-FFEC-E3FB0948B5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D3E696-7ADA-4091-9F3B-C7D4C4794D94}" type="datetimeFigureOut">
              <a:rPr lang="hu-HU" smtClean="0"/>
              <a:t>2023. 03. 08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442B633E-B8C4-A943-788D-58F8E6A23C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FBA95941-9C24-E16A-FF00-35853BFA5C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502ECC-16EE-4BF5-803F-3AB722A56C11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4758400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3694C5FA-746A-F4AD-CD4E-F4769BF3B7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CC242CB-9F5B-F303-10B0-6BC8CB78D29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1AA469C4-9302-FBAC-79B7-3BB27DC4CC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D3E696-7ADA-4091-9F3B-C7D4C4794D94}" type="datetimeFigureOut">
              <a:rPr lang="hu-HU" smtClean="0"/>
              <a:t>2023. 03. 08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8461B627-9066-ACD9-0CB5-5300121B8F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558B2D3B-8A10-E1F3-C686-571B03984A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502ECC-16EE-4BF5-803F-3AB722A56C11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6418751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B0D4B158-C6C8-0CB4-D205-FC76ED17B8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767B1F3B-098B-2F37-C19E-A713E89F36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0115031C-2DE5-1A29-BFBE-612BE5E1E0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D3E696-7ADA-4091-9F3B-C7D4C4794D94}" type="datetimeFigureOut">
              <a:rPr lang="hu-HU" smtClean="0"/>
              <a:t>2023. 03. 08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E2BEB10E-AA3F-F3D0-BC70-855DACDF00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A07B8BF9-54FE-F4A8-C517-785C4DBDF2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502ECC-16EE-4BF5-803F-3AB722A56C11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1320150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B048B820-6E53-1DB4-468A-CC4C2AAD4B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9C484256-DE01-7293-4A53-8A74131CC6E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Tartalom helye 3">
            <a:extLst>
              <a:ext uri="{FF2B5EF4-FFF2-40B4-BE49-F238E27FC236}">
                <a16:creationId xmlns:a16="http://schemas.microsoft.com/office/drawing/2014/main" id="{79FC9A41-1828-81E4-A3DA-5CDC97A8C91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5" name="Dátum helye 4">
            <a:extLst>
              <a:ext uri="{FF2B5EF4-FFF2-40B4-BE49-F238E27FC236}">
                <a16:creationId xmlns:a16="http://schemas.microsoft.com/office/drawing/2014/main" id="{2F6FC634-013C-F447-8E3D-B4E052DB31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D3E696-7ADA-4091-9F3B-C7D4C4794D94}" type="datetimeFigureOut">
              <a:rPr lang="hu-HU" smtClean="0"/>
              <a:t>2023. 03. 08.</a:t>
            </a:fld>
            <a:endParaRPr lang="hu-HU"/>
          </a:p>
        </p:txBody>
      </p:sp>
      <p:sp>
        <p:nvSpPr>
          <p:cNvPr id="6" name="Élőláb helye 5">
            <a:extLst>
              <a:ext uri="{FF2B5EF4-FFF2-40B4-BE49-F238E27FC236}">
                <a16:creationId xmlns:a16="http://schemas.microsoft.com/office/drawing/2014/main" id="{0F237FC1-4D07-2CB2-AE2C-4EBA0295F9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>
            <a:extLst>
              <a:ext uri="{FF2B5EF4-FFF2-40B4-BE49-F238E27FC236}">
                <a16:creationId xmlns:a16="http://schemas.microsoft.com/office/drawing/2014/main" id="{EDCCCE50-3036-3191-4440-9EECFF633A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502ECC-16EE-4BF5-803F-3AB722A56C11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1462818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E919E350-C559-490C-2AC1-927660BD2B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5C97A41F-CF2A-E971-3A99-CCC92D82D1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Tartalom helye 3">
            <a:extLst>
              <a:ext uri="{FF2B5EF4-FFF2-40B4-BE49-F238E27FC236}">
                <a16:creationId xmlns:a16="http://schemas.microsoft.com/office/drawing/2014/main" id="{2659F04A-172C-A190-F876-2577A3DAFA8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5" name="Szöveg helye 4">
            <a:extLst>
              <a:ext uri="{FF2B5EF4-FFF2-40B4-BE49-F238E27FC236}">
                <a16:creationId xmlns:a16="http://schemas.microsoft.com/office/drawing/2014/main" id="{FB284F57-01C9-3CCB-BCA8-D389C03444E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6" name="Tartalom helye 5">
            <a:extLst>
              <a:ext uri="{FF2B5EF4-FFF2-40B4-BE49-F238E27FC236}">
                <a16:creationId xmlns:a16="http://schemas.microsoft.com/office/drawing/2014/main" id="{3246DB40-BBD5-6A08-E4AF-94C6F751969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7" name="Dátum helye 6">
            <a:extLst>
              <a:ext uri="{FF2B5EF4-FFF2-40B4-BE49-F238E27FC236}">
                <a16:creationId xmlns:a16="http://schemas.microsoft.com/office/drawing/2014/main" id="{E8E09AD8-01F7-3072-DB43-0BE230303C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D3E696-7ADA-4091-9F3B-C7D4C4794D94}" type="datetimeFigureOut">
              <a:rPr lang="hu-HU" smtClean="0"/>
              <a:t>2023. 03. 08.</a:t>
            </a:fld>
            <a:endParaRPr lang="hu-HU"/>
          </a:p>
        </p:txBody>
      </p:sp>
      <p:sp>
        <p:nvSpPr>
          <p:cNvPr id="8" name="Élőláb helye 7">
            <a:extLst>
              <a:ext uri="{FF2B5EF4-FFF2-40B4-BE49-F238E27FC236}">
                <a16:creationId xmlns:a16="http://schemas.microsoft.com/office/drawing/2014/main" id="{B8908EA1-3BAC-4D27-4D4B-4DB4A5BE17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9" name="Dia számának helye 8">
            <a:extLst>
              <a:ext uri="{FF2B5EF4-FFF2-40B4-BE49-F238E27FC236}">
                <a16:creationId xmlns:a16="http://schemas.microsoft.com/office/drawing/2014/main" id="{B022AA03-894F-4FEC-4383-30EF6B3D70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502ECC-16EE-4BF5-803F-3AB722A56C11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1218558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10F0268C-F6C8-7996-4AE8-7A3E33CC49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Dátum helye 2">
            <a:extLst>
              <a:ext uri="{FF2B5EF4-FFF2-40B4-BE49-F238E27FC236}">
                <a16:creationId xmlns:a16="http://schemas.microsoft.com/office/drawing/2014/main" id="{20EEE5B9-651B-27D9-8DCA-C51A27D803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D3E696-7ADA-4091-9F3B-C7D4C4794D94}" type="datetimeFigureOut">
              <a:rPr lang="hu-HU" smtClean="0"/>
              <a:t>2023. 03. 08.</a:t>
            </a:fld>
            <a:endParaRPr lang="hu-HU"/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667B4BC9-8FEB-7017-CDB9-21252E1256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06D1C8D9-BA82-AA02-01FC-7E94B1F88B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502ECC-16EE-4BF5-803F-3AB722A56C11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2754445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átum helye 1">
            <a:extLst>
              <a:ext uri="{FF2B5EF4-FFF2-40B4-BE49-F238E27FC236}">
                <a16:creationId xmlns:a16="http://schemas.microsoft.com/office/drawing/2014/main" id="{3A2F3B9A-1254-F70A-6B6F-810CC6C2C7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D3E696-7ADA-4091-9F3B-C7D4C4794D94}" type="datetimeFigureOut">
              <a:rPr lang="hu-HU" smtClean="0"/>
              <a:t>2023. 03. 08.</a:t>
            </a:fld>
            <a:endParaRPr lang="hu-HU"/>
          </a:p>
        </p:txBody>
      </p:sp>
      <p:sp>
        <p:nvSpPr>
          <p:cNvPr id="3" name="Élőláb helye 2">
            <a:extLst>
              <a:ext uri="{FF2B5EF4-FFF2-40B4-BE49-F238E27FC236}">
                <a16:creationId xmlns:a16="http://schemas.microsoft.com/office/drawing/2014/main" id="{DB99BE05-1463-A8E5-47F8-EE5ED33F67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28BB9C4E-2614-86D4-5BAA-5B7294D8EA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502ECC-16EE-4BF5-803F-3AB722A56C11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1290263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BD0061E7-B22D-F0ED-570A-1DB6AB25F9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10BEBDEB-031F-0303-9F28-5599DB5BA3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Szöveg helye 3">
            <a:extLst>
              <a:ext uri="{FF2B5EF4-FFF2-40B4-BE49-F238E27FC236}">
                <a16:creationId xmlns:a16="http://schemas.microsoft.com/office/drawing/2014/main" id="{DF371972-5AD1-51E0-D689-5A288545327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Dátum helye 4">
            <a:extLst>
              <a:ext uri="{FF2B5EF4-FFF2-40B4-BE49-F238E27FC236}">
                <a16:creationId xmlns:a16="http://schemas.microsoft.com/office/drawing/2014/main" id="{2F891603-66E8-06FC-311A-4ED6BFB920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D3E696-7ADA-4091-9F3B-C7D4C4794D94}" type="datetimeFigureOut">
              <a:rPr lang="hu-HU" smtClean="0"/>
              <a:t>2023. 03. 08.</a:t>
            </a:fld>
            <a:endParaRPr lang="hu-HU"/>
          </a:p>
        </p:txBody>
      </p:sp>
      <p:sp>
        <p:nvSpPr>
          <p:cNvPr id="6" name="Élőláb helye 5">
            <a:extLst>
              <a:ext uri="{FF2B5EF4-FFF2-40B4-BE49-F238E27FC236}">
                <a16:creationId xmlns:a16="http://schemas.microsoft.com/office/drawing/2014/main" id="{32265E61-1A34-AB78-4F55-4DFFF43E19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>
            <a:extLst>
              <a:ext uri="{FF2B5EF4-FFF2-40B4-BE49-F238E27FC236}">
                <a16:creationId xmlns:a16="http://schemas.microsoft.com/office/drawing/2014/main" id="{4A0554E5-2D0D-6969-93B1-EC0154C372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502ECC-16EE-4BF5-803F-3AB722A56C11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6575401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CD1364D-C1BC-4DEF-82A5-0BD511E3EB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Kép helye 2">
            <a:extLst>
              <a:ext uri="{FF2B5EF4-FFF2-40B4-BE49-F238E27FC236}">
                <a16:creationId xmlns:a16="http://schemas.microsoft.com/office/drawing/2014/main" id="{0226A6FB-59C1-6179-E51B-E8800A7DFA7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u-HU"/>
          </a:p>
        </p:txBody>
      </p:sp>
      <p:sp>
        <p:nvSpPr>
          <p:cNvPr id="4" name="Szöveg helye 3">
            <a:extLst>
              <a:ext uri="{FF2B5EF4-FFF2-40B4-BE49-F238E27FC236}">
                <a16:creationId xmlns:a16="http://schemas.microsoft.com/office/drawing/2014/main" id="{EDE7626D-2266-B068-5C93-B7865E3E68B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Dátum helye 4">
            <a:extLst>
              <a:ext uri="{FF2B5EF4-FFF2-40B4-BE49-F238E27FC236}">
                <a16:creationId xmlns:a16="http://schemas.microsoft.com/office/drawing/2014/main" id="{F9243502-48AE-C51E-495C-0EEB5870E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D3E696-7ADA-4091-9F3B-C7D4C4794D94}" type="datetimeFigureOut">
              <a:rPr lang="hu-HU" smtClean="0"/>
              <a:t>2023. 03. 08.</a:t>
            </a:fld>
            <a:endParaRPr lang="hu-HU"/>
          </a:p>
        </p:txBody>
      </p:sp>
      <p:sp>
        <p:nvSpPr>
          <p:cNvPr id="6" name="Élőláb helye 5">
            <a:extLst>
              <a:ext uri="{FF2B5EF4-FFF2-40B4-BE49-F238E27FC236}">
                <a16:creationId xmlns:a16="http://schemas.microsoft.com/office/drawing/2014/main" id="{235F8F02-91EA-A514-A70E-8FE5FC4E3F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>
            <a:extLst>
              <a:ext uri="{FF2B5EF4-FFF2-40B4-BE49-F238E27FC236}">
                <a16:creationId xmlns:a16="http://schemas.microsoft.com/office/drawing/2014/main" id="{E312DDBB-7479-23AE-0A36-CC5BD80C5A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502ECC-16EE-4BF5-803F-3AB722A56C11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5156517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um 7" hidden="1">
            <a:extLst>
              <a:ext uri="{FF2B5EF4-FFF2-40B4-BE49-F238E27FC236}">
                <a16:creationId xmlns:a16="http://schemas.microsoft.com/office/drawing/2014/main" id="{672FBD8D-DF99-3DC9-6E68-36989890C6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554207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06" imgH="306" progId="TCLayout.ActiveDocument.1">
                  <p:embed/>
                </p:oleObj>
              </mc:Choice>
              <mc:Fallback>
                <p:oleObj name="think-cell Slide" r:id="rId14" imgW="306" imgH="306" progId="TCLayout.ActiveDocument.1">
                  <p:embed/>
                  <p:pic>
                    <p:nvPicPr>
                      <p:cNvPr id="8" name="Objektum 7" hidden="1">
                        <a:extLst>
                          <a:ext uri="{FF2B5EF4-FFF2-40B4-BE49-F238E27FC236}">
                            <a16:creationId xmlns:a16="http://schemas.microsoft.com/office/drawing/2014/main" id="{672FBD8D-DF99-3DC9-6E68-36989890C6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helye 1">
            <a:extLst>
              <a:ext uri="{FF2B5EF4-FFF2-40B4-BE49-F238E27FC236}">
                <a16:creationId xmlns:a16="http://schemas.microsoft.com/office/drawing/2014/main" id="{54488002-A1B1-0DA1-DBA2-EEE4CCDBA6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u-HU"/>
              <a:t>Mintacím szerkesztése</a:t>
            </a:r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A10267BD-E64A-D660-CEE3-31AFDD593AD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F9ACC3B5-2EED-7469-09AD-99B0915C845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D3E696-7ADA-4091-9F3B-C7D4C4794D94}" type="datetimeFigureOut">
              <a:rPr lang="hu-HU" smtClean="0"/>
              <a:t>2023. 03. 08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3B427703-565B-48AB-7A0A-A588E6F9AE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B095F352-F821-85FD-F33C-304D67EC0B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502ECC-16EE-4BF5-803F-3AB722A56C11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34990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10" Type="http://schemas.openxmlformats.org/officeDocument/2006/relationships/image" Target="../media/image7.png"/><Relationship Id="rId4" Type="http://schemas.openxmlformats.org/officeDocument/2006/relationships/image" Target="../media/image1.emf"/><Relationship Id="rId9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.emf"/><Relationship Id="rId9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um 3" hidden="1">
            <a:extLst>
              <a:ext uri="{FF2B5EF4-FFF2-40B4-BE49-F238E27FC236}">
                <a16:creationId xmlns:a16="http://schemas.microsoft.com/office/drawing/2014/main" id="{804BC191-6386-0AFC-9C12-CC76768926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8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ktum 3" hidden="1">
                        <a:extLst>
                          <a:ext uri="{FF2B5EF4-FFF2-40B4-BE49-F238E27FC236}">
                            <a16:creationId xmlns:a16="http://schemas.microsoft.com/office/drawing/2014/main" id="{804BC191-6386-0AFC-9C12-CC76768926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églalap 16">
            <a:extLst>
              <a:ext uri="{FF2B5EF4-FFF2-40B4-BE49-F238E27FC236}">
                <a16:creationId xmlns:a16="http://schemas.microsoft.com/office/drawing/2014/main" id="{58EBDFAE-69C7-1C21-A745-C08DA3C9E7F8}"/>
              </a:ext>
            </a:extLst>
          </p:cNvPr>
          <p:cNvSpPr/>
          <p:nvPr/>
        </p:nvSpPr>
        <p:spPr>
          <a:xfrm>
            <a:off x="4169328" y="1493240"/>
            <a:ext cx="3690000" cy="369115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638210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um 3" hidden="1">
            <a:extLst>
              <a:ext uri="{FF2B5EF4-FFF2-40B4-BE49-F238E27FC236}">
                <a16:creationId xmlns:a16="http://schemas.microsoft.com/office/drawing/2014/main" id="{0828F91A-9ACF-3D12-184F-E37C375D1F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7269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ktum 3" hidden="1">
                        <a:extLst>
                          <a:ext uri="{FF2B5EF4-FFF2-40B4-BE49-F238E27FC236}">
                            <a16:creationId xmlns:a16="http://schemas.microsoft.com/office/drawing/2014/main" id="{0828F91A-9ACF-3D12-184F-E37C375D1F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ép 4">
            <a:extLst>
              <a:ext uri="{FF2B5EF4-FFF2-40B4-BE49-F238E27FC236}">
                <a16:creationId xmlns:a16="http://schemas.microsoft.com/office/drawing/2014/main" id="{004ACF38-33A2-5E25-8170-E292874C7A4E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43" t="18791" r="19050" b="19183"/>
          <a:stretch/>
        </p:blipFill>
        <p:spPr>
          <a:xfrm>
            <a:off x="4169326" y="1493240"/>
            <a:ext cx="3690001" cy="3691156"/>
          </a:xfrm>
          <a:prstGeom prst="rect">
            <a:avLst/>
          </a:prstGeom>
        </p:spPr>
      </p:pic>
      <p:pic>
        <p:nvPicPr>
          <p:cNvPr id="6" name="Kép 5">
            <a:extLst>
              <a:ext uri="{FF2B5EF4-FFF2-40B4-BE49-F238E27FC236}">
                <a16:creationId xmlns:a16="http://schemas.microsoft.com/office/drawing/2014/main" id="{EBB72BDC-4BA3-80C5-E30F-CBBA437ECB8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43" t="18791" r="19050" b="19183"/>
          <a:stretch/>
        </p:blipFill>
        <p:spPr>
          <a:xfrm>
            <a:off x="8816370" y="322977"/>
            <a:ext cx="3690000" cy="3691156"/>
          </a:xfrm>
          <a:prstGeom prst="rect">
            <a:avLst/>
          </a:prstGeom>
        </p:spPr>
      </p:pic>
      <p:pic>
        <p:nvPicPr>
          <p:cNvPr id="7" name="Kép 6">
            <a:extLst>
              <a:ext uri="{FF2B5EF4-FFF2-40B4-BE49-F238E27FC236}">
                <a16:creationId xmlns:a16="http://schemas.microsoft.com/office/drawing/2014/main" id="{C15C3DAA-B314-BDCF-3567-71D12D20C9B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43" t="18791" r="19050" b="19183"/>
          <a:stretch/>
        </p:blipFill>
        <p:spPr>
          <a:xfrm>
            <a:off x="8302155" y="425043"/>
            <a:ext cx="3690000" cy="3691156"/>
          </a:xfrm>
          <a:prstGeom prst="rect">
            <a:avLst/>
          </a:prstGeom>
        </p:spPr>
      </p:pic>
      <p:pic>
        <p:nvPicPr>
          <p:cNvPr id="8" name="Kép 7" descr="A képen szöveg, vektorgrafika, clipart látható&#10;&#10;Automatikusan generált leírás">
            <a:extLst>
              <a:ext uri="{FF2B5EF4-FFF2-40B4-BE49-F238E27FC236}">
                <a16:creationId xmlns:a16="http://schemas.microsoft.com/office/drawing/2014/main" id="{336EBBAE-7951-D082-B1D4-9C5AB03FF1A2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43" t="18791" r="19050" b="19183"/>
          <a:stretch/>
        </p:blipFill>
        <p:spPr>
          <a:xfrm>
            <a:off x="8654399" y="220911"/>
            <a:ext cx="3690000" cy="3691156"/>
          </a:xfrm>
          <a:prstGeom prst="rect">
            <a:avLst/>
          </a:prstGeom>
        </p:spPr>
      </p:pic>
      <p:pic>
        <p:nvPicPr>
          <p:cNvPr id="9" name="Kép 8">
            <a:extLst>
              <a:ext uri="{FF2B5EF4-FFF2-40B4-BE49-F238E27FC236}">
                <a16:creationId xmlns:a16="http://schemas.microsoft.com/office/drawing/2014/main" id="{57730692-01F4-F3F9-918E-EB9BC750BE51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43" t="18791" r="19050" b="19183"/>
          <a:stretch/>
        </p:blipFill>
        <p:spPr>
          <a:xfrm>
            <a:off x="831571" y="889233"/>
            <a:ext cx="3690000" cy="3691156"/>
          </a:xfrm>
          <a:prstGeom prst="rect">
            <a:avLst/>
          </a:prstGeom>
        </p:spPr>
      </p:pic>
      <p:pic>
        <p:nvPicPr>
          <p:cNvPr id="10" name="Kép 9">
            <a:extLst>
              <a:ext uri="{FF2B5EF4-FFF2-40B4-BE49-F238E27FC236}">
                <a16:creationId xmlns:a16="http://schemas.microsoft.com/office/drawing/2014/main" id="{7626844E-7651-6BFC-24BD-46DF940087B4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43" t="18791" r="19050" b="19183"/>
          <a:stretch/>
        </p:blipFill>
        <p:spPr>
          <a:xfrm>
            <a:off x="8501999" y="889233"/>
            <a:ext cx="3690001" cy="3691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71548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um 3" hidden="1">
            <a:extLst>
              <a:ext uri="{FF2B5EF4-FFF2-40B4-BE49-F238E27FC236}">
                <a16:creationId xmlns:a16="http://schemas.microsoft.com/office/drawing/2014/main" id="{1A0BFCCB-BC26-0ECB-495A-DC659275D02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2937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ktum 3" hidden="1">
                        <a:extLst>
                          <a:ext uri="{FF2B5EF4-FFF2-40B4-BE49-F238E27FC236}">
                            <a16:creationId xmlns:a16="http://schemas.microsoft.com/office/drawing/2014/main" id="{1A0BFCCB-BC26-0ECB-495A-DC659275D0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Csoportba foglalás 6">
            <a:extLst>
              <a:ext uri="{FF2B5EF4-FFF2-40B4-BE49-F238E27FC236}">
                <a16:creationId xmlns:a16="http://schemas.microsoft.com/office/drawing/2014/main" id="{92D946F1-43C3-2E6A-AE39-697A7BCBC341}"/>
              </a:ext>
            </a:extLst>
          </p:cNvPr>
          <p:cNvGrpSpPr/>
          <p:nvPr/>
        </p:nvGrpSpPr>
        <p:grpSpPr>
          <a:xfrm>
            <a:off x="2952009" y="2834387"/>
            <a:ext cx="262682" cy="264315"/>
            <a:chOff x="1559216" y="1432930"/>
            <a:chExt cx="3048268" cy="3067215"/>
          </a:xfrm>
        </p:grpSpPr>
        <p:pic>
          <p:nvPicPr>
            <p:cNvPr id="6" name="Kép 5">
              <a:extLst>
                <a:ext uri="{FF2B5EF4-FFF2-40B4-BE49-F238E27FC236}">
                  <a16:creationId xmlns:a16="http://schemas.microsoft.com/office/drawing/2014/main" id="{1A7DDC5B-4E06-BAD6-BF0D-81915180D8C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559217" y="1432945"/>
              <a:ext cx="3048267" cy="3067200"/>
            </a:xfrm>
            <a:prstGeom prst="rect">
              <a:avLst/>
            </a:prstGeom>
          </p:spPr>
        </p:pic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5DC429A4-BBA0-51D6-03ED-D4FC7766758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321" t="20137" r="20321" b="20137"/>
            <a:stretch/>
          </p:blipFill>
          <p:spPr bwMode="auto">
            <a:xfrm>
              <a:off x="1559216" y="1432930"/>
              <a:ext cx="3048268" cy="30671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" name="Kép 2">
            <a:extLst>
              <a:ext uri="{FF2B5EF4-FFF2-40B4-BE49-F238E27FC236}">
                <a16:creationId xmlns:a16="http://schemas.microsoft.com/office/drawing/2014/main" id="{638A92ED-03E5-6E8F-BAA3-35D0EE6F6B9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70163" y="2512044"/>
            <a:ext cx="2085272" cy="2098228"/>
          </a:xfrm>
          <a:prstGeom prst="roundRect">
            <a:avLst>
              <a:gd name="adj" fmla="val 9426"/>
            </a:avLst>
          </a:prstGeom>
        </p:spPr>
      </p:pic>
      <p:pic>
        <p:nvPicPr>
          <p:cNvPr id="9" name="Picture 2">
            <a:extLst>
              <a:ext uri="{FF2B5EF4-FFF2-40B4-BE49-F238E27FC236}">
                <a16:creationId xmlns:a16="http://schemas.microsoft.com/office/drawing/2014/main" id="{8F38AB27-6F56-B38B-384B-4C3A73DE272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67" t="20287" r="21858" b="21680"/>
          <a:stretch/>
        </p:blipFill>
        <p:spPr bwMode="auto">
          <a:xfrm>
            <a:off x="6270163" y="2512044"/>
            <a:ext cx="2085272" cy="20982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Kép 1">
            <a:extLst>
              <a:ext uri="{FF2B5EF4-FFF2-40B4-BE49-F238E27FC236}">
                <a16:creationId xmlns:a16="http://schemas.microsoft.com/office/drawing/2014/main" id="{A8F42F23-4E4E-8E2A-75A4-12C79B32435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62424" y="2512044"/>
            <a:ext cx="2085272" cy="2098228"/>
          </a:xfrm>
          <a:prstGeom prst="roundRect">
            <a:avLst>
              <a:gd name="adj" fmla="val 27932"/>
            </a:avLst>
          </a:prstGeom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CD1E6DBC-F8C7-43BB-198C-8389EAEEB16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67" t="20287" r="21858" b="21680"/>
          <a:stretch/>
        </p:blipFill>
        <p:spPr bwMode="auto">
          <a:xfrm>
            <a:off x="8733808" y="2583872"/>
            <a:ext cx="1942504" cy="19545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107193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um 3" hidden="1">
            <a:extLst>
              <a:ext uri="{FF2B5EF4-FFF2-40B4-BE49-F238E27FC236}">
                <a16:creationId xmlns:a16="http://schemas.microsoft.com/office/drawing/2014/main" id="{5F7599BC-F0AC-6989-3558-2C26CF51BD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01156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ktum 3" hidden="1">
                        <a:extLst>
                          <a:ext uri="{FF2B5EF4-FFF2-40B4-BE49-F238E27FC236}">
                            <a16:creationId xmlns:a16="http://schemas.microsoft.com/office/drawing/2014/main" id="{5F7599BC-F0AC-6989-3558-2C26CF51BD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églalap 4">
            <a:extLst>
              <a:ext uri="{FF2B5EF4-FFF2-40B4-BE49-F238E27FC236}">
                <a16:creationId xmlns:a16="http://schemas.microsoft.com/office/drawing/2014/main" id="{D845AE3D-D68A-9167-A7B8-A6150DA1896C}"/>
              </a:ext>
            </a:extLst>
          </p:cNvPr>
          <p:cNvSpPr/>
          <p:nvPr/>
        </p:nvSpPr>
        <p:spPr>
          <a:xfrm>
            <a:off x="3914775" y="1247775"/>
            <a:ext cx="4362450" cy="43624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A0432B9-BAE2-4A05-5944-5207B566D50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95" t="18195" r="18194" b="18194"/>
          <a:stretch/>
        </p:blipFill>
        <p:spPr bwMode="auto">
          <a:xfrm>
            <a:off x="-2362201" y="161925"/>
            <a:ext cx="4362451" cy="4362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0A9AEE85-73B2-A0BC-95E3-E62B28B9D74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39" t="19004" r="19136" b="19272"/>
          <a:stretch/>
        </p:blipFill>
        <p:spPr bwMode="auto">
          <a:xfrm>
            <a:off x="5181598" y="1247775"/>
            <a:ext cx="4362451" cy="4362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401913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um 3" hidden="1">
            <a:extLst>
              <a:ext uri="{FF2B5EF4-FFF2-40B4-BE49-F238E27FC236}">
                <a16:creationId xmlns:a16="http://schemas.microsoft.com/office/drawing/2014/main" id="{5F7599BC-F0AC-6989-3558-2C26CF51BD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7620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ktum 3" hidden="1">
                        <a:extLst>
                          <a:ext uri="{FF2B5EF4-FFF2-40B4-BE49-F238E27FC236}">
                            <a16:creationId xmlns:a16="http://schemas.microsoft.com/office/drawing/2014/main" id="{5F7599BC-F0AC-6989-3558-2C26CF51BD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églalap 6">
            <a:extLst>
              <a:ext uri="{FF2B5EF4-FFF2-40B4-BE49-F238E27FC236}">
                <a16:creationId xmlns:a16="http://schemas.microsoft.com/office/drawing/2014/main" id="{9E784680-01AB-2A6E-EDA8-FE3E87E8C59F}"/>
              </a:ext>
            </a:extLst>
          </p:cNvPr>
          <p:cNvSpPr/>
          <p:nvPr/>
        </p:nvSpPr>
        <p:spPr>
          <a:xfrm>
            <a:off x="3956204" y="2057627"/>
            <a:ext cx="2876396" cy="28763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pic>
        <p:nvPicPr>
          <p:cNvPr id="1030" name="Picture 6">
            <a:extLst>
              <a:ext uri="{FF2B5EF4-FFF2-40B4-BE49-F238E27FC236}">
                <a16:creationId xmlns:a16="http://schemas.microsoft.com/office/drawing/2014/main" id="{3A0C7713-C727-A7F3-49C1-E5F34A462C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1550" y="1885950"/>
            <a:ext cx="1238400" cy="1238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415CF8FF-55C7-BA72-B4E7-146021663E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9702" y="2695575"/>
            <a:ext cx="1238400" cy="1238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>
            <a:extLst>
              <a:ext uri="{FF2B5EF4-FFF2-40B4-BE49-F238E27FC236}">
                <a16:creationId xmlns:a16="http://schemas.microsoft.com/office/drawing/2014/main" id="{FF57B8AA-3CA4-8154-DEA2-0C0132FDAD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5202" y="3857700"/>
            <a:ext cx="1238400" cy="1238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>
            <a:extLst>
              <a:ext uri="{FF2B5EF4-FFF2-40B4-BE49-F238E27FC236}">
                <a16:creationId xmlns:a16="http://schemas.microsoft.com/office/drawing/2014/main" id="{BD324ABF-875D-A79A-6DE2-9A543B7233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0677" y="3933975"/>
            <a:ext cx="1085850" cy="1085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16">
            <a:extLst>
              <a:ext uri="{FF2B5EF4-FFF2-40B4-BE49-F238E27FC236}">
                <a16:creationId xmlns:a16="http://schemas.microsoft.com/office/drawing/2014/main" id="{5EA805CA-C94F-B3FB-72EA-D6086D525D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2663" y="2695575"/>
            <a:ext cx="1238400" cy="1238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Háromszög 7">
            <a:extLst>
              <a:ext uri="{FF2B5EF4-FFF2-40B4-BE49-F238E27FC236}">
                <a16:creationId xmlns:a16="http://schemas.microsoft.com/office/drawing/2014/main" id="{102D4EBC-DB94-0A89-D5BB-4E3AFB667ED5}"/>
              </a:ext>
            </a:extLst>
          </p:cNvPr>
          <p:cNvSpPr/>
          <p:nvPr/>
        </p:nvSpPr>
        <p:spPr>
          <a:xfrm rot="3729822">
            <a:off x="4596139" y="2772190"/>
            <a:ext cx="218424" cy="74888"/>
          </a:xfrm>
          <a:custGeom>
            <a:avLst/>
            <a:gdLst>
              <a:gd name="connsiteX0" fmla="*/ 0 w 218424"/>
              <a:gd name="connsiteY0" fmla="*/ 74888 h 74888"/>
              <a:gd name="connsiteX1" fmla="*/ 109212 w 218424"/>
              <a:gd name="connsiteY1" fmla="*/ 0 h 74888"/>
              <a:gd name="connsiteX2" fmla="*/ 218424 w 218424"/>
              <a:gd name="connsiteY2" fmla="*/ 74888 h 74888"/>
              <a:gd name="connsiteX3" fmla="*/ 0 w 218424"/>
              <a:gd name="connsiteY3" fmla="*/ 74888 h 74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424" h="74888" fill="none" extrusionOk="0">
                <a:moveTo>
                  <a:pt x="0" y="74888"/>
                </a:moveTo>
                <a:cubicBezTo>
                  <a:pt x="31034" y="47911"/>
                  <a:pt x="69372" y="36725"/>
                  <a:pt x="109212" y="0"/>
                </a:cubicBezTo>
                <a:cubicBezTo>
                  <a:pt x="156354" y="18952"/>
                  <a:pt x="171502" y="36467"/>
                  <a:pt x="218424" y="74888"/>
                </a:cubicBezTo>
                <a:cubicBezTo>
                  <a:pt x="131080" y="74295"/>
                  <a:pt x="29723" y="85482"/>
                  <a:pt x="0" y="74888"/>
                </a:cubicBezTo>
                <a:close/>
              </a:path>
              <a:path w="218424" h="74888" stroke="0" extrusionOk="0">
                <a:moveTo>
                  <a:pt x="0" y="74888"/>
                </a:moveTo>
                <a:cubicBezTo>
                  <a:pt x="26933" y="56214"/>
                  <a:pt x="85399" y="17917"/>
                  <a:pt x="109212" y="0"/>
                </a:cubicBezTo>
                <a:cubicBezTo>
                  <a:pt x="119990" y="19374"/>
                  <a:pt x="194463" y="62235"/>
                  <a:pt x="218424" y="74888"/>
                </a:cubicBezTo>
                <a:cubicBezTo>
                  <a:pt x="159284" y="69193"/>
                  <a:pt x="36765" y="56413"/>
                  <a:pt x="0" y="74888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3629069986">
                  <a:prstGeom prst="triangl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9" name="Háromszög 8">
            <a:extLst>
              <a:ext uri="{FF2B5EF4-FFF2-40B4-BE49-F238E27FC236}">
                <a16:creationId xmlns:a16="http://schemas.microsoft.com/office/drawing/2014/main" id="{B97C72FE-1119-A7C4-3952-5996302F2711}"/>
              </a:ext>
            </a:extLst>
          </p:cNvPr>
          <p:cNvSpPr/>
          <p:nvPr/>
        </p:nvSpPr>
        <p:spPr>
          <a:xfrm rot="7838355">
            <a:off x="5878998" y="2829340"/>
            <a:ext cx="218424" cy="74888"/>
          </a:xfrm>
          <a:custGeom>
            <a:avLst/>
            <a:gdLst>
              <a:gd name="connsiteX0" fmla="*/ 0 w 218424"/>
              <a:gd name="connsiteY0" fmla="*/ 74888 h 74888"/>
              <a:gd name="connsiteX1" fmla="*/ 109212 w 218424"/>
              <a:gd name="connsiteY1" fmla="*/ 0 h 74888"/>
              <a:gd name="connsiteX2" fmla="*/ 218424 w 218424"/>
              <a:gd name="connsiteY2" fmla="*/ 74888 h 74888"/>
              <a:gd name="connsiteX3" fmla="*/ 0 w 218424"/>
              <a:gd name="connsiteY3" fmla="*/ 74888 h 74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424" h="74888" fill="none" extrusionOk="0">
                <a:moveTo>
                  <a:pt x="0" y="74888"/>
                </a:moveTo>
                <a:cubicBezTo>
                  <a:pt x="31034" y="47911"/>
                  <a:pt x="69372" y="36725"/>
                  <a:pt x="109212" y="0"/>
                </a:cubicBezTo>
                <a:cubicBezTo>
                  <a:pt x="156354" y="18952"/>
                  <a:pt x="171502" y="36467"/>
                  <a:pt x="218424" y="74888"/>
                </a:cubicBezTo>
                <a:cubicBezTo>
                  <a:pt x="131080" y="74295"/>
                  <a:pt x="29723" y="85482"/>
                  <a:pt x="0" y="74888"/>
                </a:cubicBezTo>
                <a:close/>
              </a:path>
              <a:path w="218424" h="74888" stroke="0" extrusionOk="0">
                <a:moveTo>
                  <a:pt x="0" y="74888"/>
                </a:moveTo>
                <a:cubicBezTo>
                  <a:pt x="26933" y="56214"/>
                  <a:pt x="85399" y="17917"/>
                  <a:pt x="109212" y="0"/>
                </a:cubicBezTo>
                <a:cubicBezTo>
                  <a:pt x="119990" y="19374"/>
                  <a:pt x="194463" y="62235"/>
                  <a:pt x="218424" y="74888"/>
                </a:cubicBezTo>
                <a:cubicBezTo>
                  <a:pt x="159284" y="69193"/>
                  <a:pt x="36765" y="56413"/>
                  <a:pt x="0" y="74888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3629069986">
                  <a:prstGeom prst="triangl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0" name="Háromszög 9">
            <a:extLst>
              <a:ext uri="{FF2B5EF4-FFF2-40B4-BE49-F238E27FC236}">
                <a16:creationId xmlns:a16="http://schemas.microsoft.com/office/drawing/2014/main" id="{32BDCDDD-B023-184D-A1E4-19132F3B28FF}"/>
              </a:ext>
            </a:extLst>
          </p:cNvPr>
          <p:cNvSpPr/>
          <p:nvPr/>
        </p:nvSpPr>
        <p:spPr>
          <a:xfrm rot="12378649">
            <a:off x="6131372" y="3836378"/>
            <a:ext cx="218424" cy="74888"/>
          </a:xfrm>
          <a:custGeom>
            <a:avLst/>
            <a:gdLst>
              <a:gd name="connsiteX0" fmla="*/ 0 w 218424"/>
              <a:gd name="connsiteY0" fmla="*/ 74888 h 74888"/>
              <a:gd name="connsiteX1" fmla="*/ 109212 w 218424"/>
              <a:gd name="connsiteY1" fmla="*/ 0 h 74888"/>
              <a:gd name="connsiteX2" fmla="*/ 218424 w 218424"/>
              <a:gd name="connsiteY2" fmla="*/ 74888 h 74888"/>
              <a:gd name="connsiteX3" fmla="*/ 0 w 218424"/>
              <a:gd name="connsiteY3" fmla="*/ 74888 h 74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424" h="74888" fill="none" extrusionOk="0">
                <a:moveTo>
                  <a:pt x="0" y="74888"/>
                </a:moveTo>
                <a:cubicBezTo>
                  <a:pt x="31034" y="47911"/>
                  <a:pt x="69372" y="36725"/>
                  <a:pt x="109212" y="0"/>
                </a:cubicBezTo>
                <a:cubicBezTo>
                  <a:pt x="156354" y="18952"/>
                  <a:pt x="171502" y="36467"/>
                  <a:pt x="218424" y="74888"/>
                </a:cubicBezTo>
                <a:cubicBezTo>
                  <a:pt x="131080" y="74295"/>
                  <a:pt x="29723" y="85482"/>
                  <a:pt x="0" y="74888"/>
                </a:cubicBezTo>
                <a:close/>
              </a:path>
              <a:path w="218424" h="74888" stroke="0" extrusionOk="0">
                <a:moveTo>
                  <a:pt x="0" y="74888"/>
                </a:moveTo>
                <a:cubicBezTo>
                  <a:pt x="26933" y="56214"/>
                  <a:pt x="85399" y="17917"/>
                  <a:pt x="109212" y="0"/>
                </a:cubicBezTo>
                <a:cubicBezTo>
                  <a:pt x="119990" y="19374"/>
                  <a:pt x="194463" y="62235"/>
                  <a:pt x="218424" y="74888"/>
                </a:cubicBezTo>
                <a:cubicBezTo>
                  <a:pt x="159284" y="69193"/>
                  <a:pt x="36765" y="56413"/>
                  <a:pt x="0" y="74888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3629069986">
                  <a:prstGeom prst="triangl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1" name="Háromszög 10">
            <a:extLst>
              <a:ext uri="{FF2B5EF4-FFF2-40B4-BE49-F238E27FC236}">
                <a16:creationId xmlns:a16="http://schemas.microsoft.com/office/drawing/2014/main" id="{72A3ACEE-37EC-6445-1846-E1BE4526AD0B}"/>
              </a:ext>
            </a:extLst>
          </p:cNvPr>
          <p:cNvSpPr/>
          <p:nvPr/>
        </p:nvSpPr>
        <p:spPr>
          <a:xfrm rot="16200000">
            <a:off x="5282939" y="4434518"/>
            <a:ext cx="218424" cy="74888"/>
          </a:xfrm>
          <a:custGeom>
            <a:avLst/>
            <a:gdLst>
              <a:gd name="connsiteX0" fmla="*/ 0 w 218424"/>
              <a:gd name="connsiteY0" fmla="*/ 74888 h 74888"/>
              <a:gd name="connsiteX1" fmla="*/ 109212 w 218424"/>
              <a:gd name="connsiteY1" fmla="*/ 0 h 74888"/>
              <a:gd name="connsiteX2" fmla="*/ 218424 w 218424"/>
              <a:gd name="connsiteY2" fmla="*/ 74888 h 74888"/>
              <a:gd name="connsiteX3" fmla="*/ 0 w 218424"/>
              <a:gd name="connsiteY3" fmla="*/ 74888 h 74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424" h="74888" fill="none" extrusionOk="0">
                <a:moveTo>
                  <a:pt x="0" y="74888"/>
                </a:moveTo>
                <a:cubicBezTo>
                  <a:pt x="31034" y="47911"/>
                  <a:pt x="69372" y="36725"/>
                  <a:pt x="109212" y="0"/>
                </a:cubicBezTo>
                <a:cubicBezTo>
                  <a:pt x="156354" y="18952"/>
                  <a:pt x="171502" y="36467"/>
                  <a:pt x="218424" y="74888"/>
                </a:cubicBezTo>
                <a:cubicBezTo>
                  <a:pt x="131080" y="74295"/>
                  <a:pt x="29723" y="85482"/>
                  <a:pt x="0" y="74888"/>
                </a:cubicBezTo>
                <a:close/>
              </a:path>
              <a:path w="218424" h="74888" stroke="0" extrusionOk="0">
                <a:moveTo>
                  <a:pt x="0" y="74888"/>
                </a:moveTo>
                <a:cubicBezTo>
                  <a:pt x="26933" y="56214"/>
                  <a:pt x="85399" y="17917"/>
                  <a:pt x="109212" y="0"/>
                </a:cubicBezTo>
                <a:cubicBezTo>
                  <a:pt x="119990" y="19374"/>
                  <a:pt x="194463" y="62235"/>
                  <a:pt x="218424" y="74888"/>
                </a:cubicBezTo>
                <a:cubicBezTo>
                  <a:pt x="159284" y="69193"/>
                  <a:pt x="36765" y="56413"/>
                  <a:pt x="0" y="74888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3629069986">
                  <a:prstGeom prst="triangl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2" name="Háromszög 11">
            <a:extLst>
              <a:ext uri="{FF2B5EF4-FFF2-40B4-BE49-F238E27FC236}">
                <a16:creationId xmlns:a16="http://schemas.microsoft.com/office/drawing/2014/main" id="{594AC874-71CC-B379-D86A-95BB55994F8C}"/>
              </a:ext>
            </a:extLst>
          </p:cNvPr>
          <p:cNvSpPr/>
          <p:nvPr/>
        </p:nvSpPr>
        <p:spPr>
          <a:xfrm rot="20024351">
            <a:off x="4481631" y="3833057"/>
            <a:ext cx="218424" cy="74888"/>
          </a:xfrm>
          <a:custGeom>
            <a:avLst/>
            <a:gdLst>
              <a:gd name="connsiteX0" fmla="*/ 0 w 218424"/>
              <a:gd name="connsiteY0" fmla="*/ 74888 h 74888"/>
              <a:gd name="connsiteX1" fmla="*/ 109212 w 218424"/>
              <a:gd name="connsiteY1" fmla="*/ 0 h 74888"/>
              <a:gd name="connsiteX2" fmla="*/ 218424 w 218424"/>
              <a:gd name="connsiteY2" fmla="*/ 74888 h 74888"/>
              <a:gd name="connsiteX3" fmla="*/ 0 w 218424"/>
              <a:gd name="connsiteY3" fmla="*/ 74888 h 74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424" h="74888" fill="none" extrusionOk="0">
                <a:moveTo>
                  <a:pt x="0" y="74888"/>
                </a:moveTo>
                <a:cubicBezTo>
                  <a:pt x="31034" y="47911"/>
                  <a:pt x="69372" y="36725"/>
                  <a:pt x="109212" y="0"/>
                </a:cubicBezTo>
                <a:cubicBezTo>
                  <a:pt x="156354" y="18952"/>
                  <a:pt x="171502" y="36467"/>
                  <a:pt x="218424" y="74888"/>
                </a:cubicBezTo>
                <a:cubicBezTo>
                  <a:pt x="131080" y="74295"/>
                  <a:pt x="29723" y="85482"/>
                  <a:pt x="0" y="74888"/>
                </a:cubicBezTo>
                <a:close/>
              </a:path>
              <a:path w="218424" h="74888" stroke="0" extrusionOk="0">
                <a:moveTo>
                  <a:pt x="0" y="74888"/>
                </a:moveTo>
                <a:cubicBezTo>
                  <a:pt x="26933" y="56214"/>
                  <a:pt x="85399" y="17917"/>
                  <a:pt x="109212" y="0"/>
                </a:cubicBezTo>
                <a:cubicBezTo>
                  <a:pt x="119990" y="19374"/>
                  <a:pt x="194463" y="62235"/>
                  <a:pt x="218424" y="74888"/>
                </a:cubicBezTo>
                <a:cubicBezTo>
                  <a:pt x="159284" y="69193"/>
                  <a:pt x="36765" y="56413"/>
                  <a:pt x="0" y="74888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3629069986">
                  <a:prstGeom prst="triangl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2464952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0</TotalTime>
  <Words>0</Words>
  <Application>Microsoft Office PowerPoint</Application>
  <PresentationFormat>Szélesvásznú</PresentationFormat>
  <Paragraphs>0</Paragraphs>
  <Slides>5</Slides>
  <Notes>0</Notes>
  <HiddenSlides>0</HiddenSlides>
  <MMClips>0</MMClips>
  <ScaleCrop>false</ScaleCrop>
  <HeadingPairs>
    <vt:vector size="8" baseType="variant">
      <vt:variant>
        <vt:lpstr>Használt betűtípusok</vt:lpstr>
      </vt:variant>
      <vt:variant>
        <vt:i4>3</vt:i4>
      </vt:variant>
      <vt:variant>
        <vt:lpstr>Téma</vt:lpstr>
      </vt:variant>
      <vt:variant>
        <vt:i4>1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5</vt:i4>
      </vt:variant>
    </vt:vector>
  </HeadingPairs>
  <TitlesOfParts>
    <vt:vector size="10" baseType="lpstr">
      <vt:lpstr>Arial</vt:lpstr>
      <vt:lpstr>Calibri</vt:lpstr>
      <vt:lpstr>Calibri Light</vt:lpstr>
      <vt:lpstr>Office-téma</vt:lpstr>
      <vt:lpstr>think-cell Slide</vt:lpstr>
      <vt:lpstr>PowerPoint-bemutató</vt:lpstr>
      <vt:lpstr>PowerPoint-bemutató</vt:lpstr>
      <vt:lpstr>PowerPoint-bemutató</vt:lpstr>
      <vt:lpstr>PowerPoint-bemutató</vt:lpstr>
      <vt:lpstr>PowerPoint-bemutat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bemutató</dc:title>
  <dc:creator>Cimer Ádám</dc:creator>
  <cp:lastModifiedBy>Cimer Ádám</cp:lastModifiedBy>
  <cp:revision>1</cp:revision>
  <dcterms:created xsi:type="dcterms:W3CDTF">2023-03-08T10:19:14Z</dcterms:created>
  <dcterms:modified xsi:type="dcterms:W3CDTF">2023-03-08T13:34:33Z</dcterms:modified>
</cp:coreProperties>
</file>